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24"/>
  </p:notesMasterIdLst>
  <p:sldIdLst>
    <p:sldId id="303" r:id="rId5"/>
    <p:sldId id="262" r:id="rId6"/>
    <p:sldId id="306" r:id="rId7"/>
    <p:sldId id="314" r:id="rId8"/>
    <p:sldId id="257" r:id="rId9"/>
    <p:sldId id="321" r:id="rId10"/>
    <p:sldId id="269" r:id="rId11"/>
    <p:sldId id="322" r:id="rId12"/>
    <p:sldId id="261" r:id="rId13"/>
    <p:sldId id="296" r:id="rId14"/>
    <p:sldId id="304" r:id="rId15"/>
    <p:sldId id="307" r:id="rId16"/>
    <p:sldId id="318" r:id="rId17"/>
    <p:sldId id="319" r:id="rId18"/>
    <p:sldId id="291" r:id="rId19"/>
    <p:sldId id="274" r:id="rId20"/>
    <p:sldId id="300" r:id="rId21"/>
    <p:sldId id="286" r:id="rId22"/>
    <p:sldId id="292" r:id="rId23"/>
  </p:sldIdLst>
  <p:sldSz cx="9631363" cy="7223125"/>
  <p:notesSz cx="6858000" cy="9144000"/>
  <p:custDataLst>
    <p:tags r:id="rId2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5356" userDrawn="1">
          <p15:clr>
            <a:srgbClr val="A4A3A4"/>
          </p15:clr>
        </p15:guide>
        <p15:guide id="3" orient="horz" pos="22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pelman, Dana Lea" initials="KDL" lastIdx="6" clrIdx="0">
    <p:extLst>
      <p:ext uri="{19B8F6BF-5375-455C-9EA6-DF929625EA0E}">
        <p15:presenceInfo xmlns:p15="http://schemas.microsoft.com/office/powerpoint/2012/main" userId="S::dkopelman@collegeboard.org::20979823-5b91-44f0-b53d-0aedd2b25df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DB00"/>
    <a:srgbClr val="F24516"/>
    <a:srgbClr val="C7C7C7"/>
    <a:srgbClr val="EAEAEA"/>
    <a:srgbClr val="F09E00"/>
    <a:srgbClr val="26A64E"/>
    <a:srgbClr val="F16B4E"/>
    <a:srgbClr val="2BBFF4"/>
    <a:srgbClr val="4BA7F8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34843" autoAdjust="0"/>
    <p:restoredTop sz="97474" autoAdjust="0"/>
  </p:normalViewPr>
  <p:slideViewPr>
    <p:cSldViewPr snapToGrid="0" showGuides="1">
      <p:cViewPr varScale="1">
        <p:scale>
          <a:sx n="107" d="100"/>
          <a:sy n="107" d="100"/>
        </p:scale>
        <p:origin x="496" y="160"/>
      </p:cViewPr>
      <p:guideLst>
        <p:guide pos="5356"/>
        <p:guide orient="horz" pos="2275"/>
      </p:guideLst>
    </p:cSldViewPr>
  </p:slideViewPr>
  <p:outlineViewPr>
    <p:cViewPr>
      <p:scale>
        <a:sx n="33" d="100"/>
        <a:sy n="33" d="100"/>
      </p:scale>
      <p:origin x="0" y="-31457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B0680C-5B48-460E-B481-2C9E1A1DFEF0}" type="datetimeFigureOut">
              <a:rPr lang="en-US" smtClean="0"/>
              <a:t>4/15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6AF150-6D2A-4DA1-BED8-20A773521BD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97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23112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9857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2074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jpe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jpe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282400" y="358775"/>
            <a:ext cx="9098240" cy="6127886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0200" y="1618488"/>
            <a:ext cx="3814207" cy="621106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>
              <a:defRPr sz="3450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0201" y="5333781"/>
            <a:ext cx="3814207" cy="563128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buNone/>
              <a:defRPr sz="1500" b="1">
                <a:solidFill>
                  <a:schemeClr val="accent2"/>
                </a:solidFill>
                <a:latin typeface="+mj-lt"/>
              </a:defRPr>
            </a:lvl1pPr>
            <a:lvl2pPr marL="36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04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40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08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76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reeform 17"/>
          <p:cNvSpPr/>
          <p:nvPr/>
        </p:nvSpPr>
        <p:spPr>
          <a:xfrm>
            <a:off x="4793068" y="366033"/>
            <a:ext cx="4587572" cy="6120629"/>
          </a:xfrm>
          <a:custGeom>
            <a:avLst/>
            <a:gdLst>
              <a:gd name="connsiteX0" fmla="*/ 2394783 w 6080760"/>
              <a:gd name="connsiteY0" fmla="*/ 0 h 6084855"/>
              <a:gd name="connsiteX1" fmla="*/ 3872619 w 6080760"/>
              <a:gd name="connsiteY1" fmla="*/ 0 h 6084855"/>
              <a:gd name="connsiteX2" fmla="*/ 4065568 w 6080760"/>
              <a:gd name="connsiteY2" fmla="*/ 49612 h 6084855"/>
              <a:gd name="connsiteX3" fmla="*/ 6013655 w 6080760"/>
              <a:gd name="connsiteY3" fmla="*/ 1805104 h 6084855"/>
              <a:gd name="connsiteX4" fmla="*/ 6080760 w 6080760"/>
              <a:gd name="connsiteY4" fmla="*/ 1980033 h 6084855"/>
              <a:gd name="connsiteX5" fmla="*/ 6080760 w 6080760"/>
              <a:gd name="connsiteY5" fmla="*/ 4099313 h 6084855"/>
              <a:gd name="connsiteX6" fmla="*/ 6021140 w 6080760"/>
              <a:gd name="connsiteY6" fmla="*/ 4262206 h 6084855"/>
              <a:gd name="connsiteX7" fmla="*/ 4065568 w 6080760"/>
              <a:gd name="connsiteY7" fmla="*/ 6035244 h 6084855"/>
              <a:gd name="connsiteX8" fmla="*/ 3882178 w 6080760"/>
              <a:gd name="connsiteY8" fmla="*/ 6084855 h 6084855"/>
              <a:gd name="connsiteX9" fmla="*/ 2394778 w 6080760"/>
              <a:gd name="connsiteY9" fmla="*/ 6084855 h 6084855"/>
              <a:gd name="connsiteX10" fmla="*/ 2201834 w 6080760"/>
              <a:gd name="connsiteY10" fmla="*/ 6035244 h 6084855"/>
              <a:gd name="connsiteX11" fmla="*/ 0 w 6080760"/>
              <a:gd name="connsiteY11" fmla="*/ 3042428 h 6084855"/>
              <a:gd name="connsiteX12" fmla="*/ 2201834 w 6080760"/>
              <a:gd name="connsiteY12" fmla="*/ 49612 h 6084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0" h="6084855">
                <a:moveTo>
                  <a:pt x="2394783" y="0"/>
                </a:moveTo>
                <a:lnTo>
                  <a:pt x="3872619" y="0"/>
                </a:lnTo>
                <a:lnTo>
                  <a:pt x="4065568" y="49612"/>
                </a:lnTo>
                <a:cubicBezTo>
                  <a:pt x="4942564" y="322387"/>
                  <a:pt x="5654401" y="970025"/>
                  <a:pt x="6013655" y="1805104"/>
                </a:cubicBezTo>
                <a:lnTo>
                  <a:pt x="6080760" y="1980033"/>
                </a:lnTo>
                <a:lnTo>
                  <a:pt x="6080760" y="4099313"/>
                </a:lnTo>
                <a:lnTo>
                  <a:pt x="6021140" y="4262206"/>
                </a:lnTo>
                <a:cubicBezTo>
                  <a:pt x="5664348" y="5105755"/>
                  <a:pt x="4948697" y="5760562"/>
                  <a:pt x="4065568" y="6035244"/>
                </a:cubicBezTo>
                <a:lnTo>
                  <a:pt x="3882178" y="6084855"/>
                </a:lnTo>
                <a:lnTo>
                  <a:pt x="2394778" y="6084855"/>
                </a:lnTo>
                <a:lnTo>
                  <a:pt x="2201834" y="6035244"/>
                </a:lnTo>
                <a:cubicBezTo>
                  <a:pt x="926204" y="5638482"/>
                  <a:pt x="0" y="4448618"/>
                  <a:pt x="0" y="3042428"/>
                </a:cubicBezTo>
                <a:cubicBezTo>
                  <a:pt x="0" y="1636239"/>
                  <a:pt x="926204" y="446375"/>
                  <a:pt x="2201834" y="49612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82401" y="6640450"/>
            <a:ext cx="3106468" cy="288925"/>
          </a:xfrm>
        </p:spPr>
        <p:txBody>
          <a:bodyPr lIns="0" bIns="45720" anchor="b"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47" name="Picture Placeholder 46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4793068" y="358775"/>
            <a:ext cx="4587572" cy="6135058"/>
          </a:xfrm>
          <a:custGeom>
            <a:avLst/>
            <a:gdLst>
              <a:gd name="connsiteX0" fmla="*/ 2428341 w 6080761"/>
              <a:gd name="connsiteY0" fmla="*/ 0 h 6099200"/>
              <a:gd name="connsiteX1" fmla="*/ 3846583 w 6080761"/>
              <a:gd name="connsiteY1" fmla="*/ 0 h 6099200"/>
              <a:gd name="connsiteX2" fmla="*/ 4063129 w 6080761"/>
              <a:gd name="connsiteY2" fmla="*/ 58581 h 6099200"/>
              <a:gd name="connsiteX3" fmla="*/ 6017528 w 6080761"/>
              <a:gd name="connsiteY3" fmla="*/ 1830555 h 6099200"/>
              <a:gd name="connsiteX4" fmla="*/ 6080761 w 6080761"/>
              <a:gd name="connsiteY4" fmla="*/ 2003320 h 6099200"/>
              <a:gd name="connsiteX5" fmla="*/ 6080761 w 6080761"/>
              <a:gd name="connsiteY5" fmla="*/ 4095880 h 6099200"/>
              <a:gd name="connsiteX6" fmla="*/ 6017528 w 6080761"/>
              <a:gd name="connsiteY6" fmla="*/ 4268646 h 6099200"/>
              <a:gd name="connsiteX7" fmla="*/ 4063129 w 6080761"/>
              <a:gd name="connsiteY7" fmla="*/ 6040620 h 6099200"/>
              <a:gd name="connsiteX8" fmla="*/ 3846583 w 6080761"/>
              <a:gd name="connsiteY8" fmla="*/ 6099200 h 6099200"/>
              <a:gd name="connsiteX9" fmla="*/ 2428341 w 6080761"/>
              <a:gd name="connsiteY9" fmla="*/ 6099200 h 6099200"/>
              <a:gd name="connsiteX10" fmla="*/ 2200513 w 6080761"/>
              <a:gd name="connsiteY10" fmla="*/ 6040620 h 6099200"/>
              <a:gd name="connsiteX11" fmla="*/ 0 w 6080761"/>
              <a:gd name="connsiteY11" fmla="*/ 3049600 h 6099200"/>
              <a:gd name="connsiteX12" fmla="*/ 2200513 w 6080761"/>
              <a:gd name="connsiteY12" fmla="*/ 58581 h 609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1" h="6099200">
                <a:moveTo>
                  <a:pt x="2428341" y="0"/>
                </a:moveTo>
                <a:lnTo>
                  <a:pt x="3846583" y="0"/>
                </a:lnTo>
                <a:lnTo>
                  <a:pt x="4063129" y="58581"/>
                </a:lnTo>
                <a:cubicBezTo>
                  <a:pt x="4945729" y="333098"/>
                  <a:pt x="5660951" y="987512"/>
                  <a:pt x="6017528" y="1830555"/>
                </a:cubicBezTo>
                <a:lnTo>
                  <a:pt x="6080761" y="2003320"/>
                </a:lnTo>
                <a:lnTo>
                  <a:pt x="6080761" y="4095880"/>
                </a:lnTo>
                <a:lnTo>
                  <a:pt x="6017528" y="4268646"/>
                </a:lnTo>
                <a:cubicBezTo>
                  <a:pt x="5660951" y="5111689"/>
                  <a:pt x="4945728" y="5766103"/>
                  <a:pt x="4063129" y="6040620"/>
                </a:cubicBezTo>
                <a:lnTo>
                  <a:pt x="3846583" y="6099200"/>
                </a:lnTo>
                <a:lnTo>
                  <a:pt x="2428341" y="6099200"/>
                </a:lnTo>
                <a:lnTo>
                  <a:pt x="2200513" y="6040620"/>
                </a:lnTo>
                <a:cubicBezTo>
                  <a:pt x="925648" y="5644095"/>
                  <a:pt x="0" y="4454946"/>
                  <a:pt x="0" y="3049600"/>
                </a:cubicBezTo>
                <a:cubicBezTo>
                  <a:pt x="0" y="1644255"/>
                  <a:pt x="925648" y="455105"/>
                  <a:pt x="2200513" y="58581"/>
                </a:cubicBezTo>
                <a:close/>
              </a:path>
            </a:pathLst>
          </a:custGeom>
          <a:ln>
            <a:noFill/>
          </a:ln>
        </p:spPr>
        <p:txBody>
          <a:bodyPr wrap="square" lIns="274320" tIns="365760" anchor="ctr">
            <a:noAutofit/>
          </a:bodyPr>
          <a:lstStyle>
            <a:lvl1pPr marL="0" indent="0" algn="ctr">
              <a:buNone/>
              <a:defRPr sz="135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Brand Approved Picture for Cover</a:t>
            </a:r>
            <a:br>
              <a:rPr lang="en-US" dirty="0"/>
            </a:br>
            <a:r>
              <a:rPr lang="en-US" dirty="0"/>
              <a:t>(Square Pictures only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00116" y="939800"/>
            <a:ext cx="3358892" cy="452438"/>
          </a:xfrm>
        </p:spPr>
        <p:txBody>
          <a:bodyPr>
            <a:noAutofit/>
          </a:bodyPr>
          <a:lstStyle>
            <a:lvl1pPr marL="0" indent="0">
              <a:buNone/>
              <a:defRPr lang="en-US" sz="1200" b="0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b="0" i="0" dirty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Copy, paste and align top left of chosen program logo to this placehol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970942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47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A5C446E-963D-4FD5-8D0F-7023684091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493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A5C446E-963D-4FD5-8D0F-7023684091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0EA7837-D0E4-4EF5-9C2D-30957ADC4C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3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57798" y="430311"/>
            <a:ext cx="8915768" cy="642524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b="1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Insert Full Background Photo Photo To Highlight a Key Message</a:t>
            </a:r>
          </a:p>
        </p:txBody>
      </p:sp>
      <p:sp>
        <p:nvSpPr>
          <p:cNvPr id="5" name="Slide title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591984" y="737176"/>
            <a:ext cx="4597544" cy="412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CA" noProof="1"/>
              <a:t>This is a tit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57798" y="455926"/>
            <a:ext cx="8915768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0243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Full Slide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36116" y="184728"/>
            <a:ext cx="9359131" cy="6853668"/>
          </a:xfrm>
          <a:prstGeom prst="rect">
            <a:avLst/>
          </a:prstGeom>
          <a:solidFill>
            <a:schemeClr val="accent3">
              <a:alpha val="67000"/>
            </a:schemeClr>
          </a:solidFill>
        </p:spPr>
        <p:txBody>
          <a:bodyPr lIns="1920240" tIns="182880" rIns="1920240" bIns="182880" anchor="ctr" anchorCtr="0">
            <a:noAutofit/>
          </a:bodyPr>
          <a:lstStyle>
            <a:lvl1pPr algn="ctr"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 sample quote to draw help make a point based on what people are saying</a:t>
            </a:r>
            <a:br>
              <a:rPr lang="en-US" dirty="0"/>
            </a:br>
            <a:r>
              <a:rPr lang="en-US" dirty="0"/>
              <a:t>(Use Format Background to Change Picture)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578764"/>
            <a:ext cx="9631363" cy="7804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35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ctr"/>
            <a:r>
              <a:rPr lang="en-US" dirty="0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8E8A6A2C-8C88-3241-8B6A-AC170FE03852}"/>
              </a:ext>
            </a:extLst>
          </p:cNvPr>
          <p:cNvSpPr/>
          <p:nvPr userDrawn="1"/>
        </p:nvSpPr>
        <p:spPr>
          <a:xfrm>
            <a:off x="0" y="-1"/>
            <a:ext cx="9631363" cy="7223125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1" tIns="27001" rIns="27001" bIns="27001" numCol="1" spcCol="0" rtlCol="0" fromWordArt="0" anchor="ctr" anchorCtr="0" forceAA="0" compatLnSpc="1">
            <a:no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086167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Slide Solid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1721561"/>
            <a:ext cx="9631363" cy="3780000"/>
          </a:xfrm>
          <a:prstGeom prst="rect">
            <a:avLst/>
          </a:prstGeom>
        </p:spPr>
        <p:txBody>
          <a:bodyPr lIns="1920240" tIns="45720" rIns="1920240" bIns="45720" anchor="ctr" anchorCtr="0">
            <a:noAutofit/>
          </a:bodyPr>
          <a:lstStyle>
            <a:lvl1pPr algn="ctr">
              <a:defRPr sz="345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 sample quote to draw help make a point based on what people are saying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1176921" y="2028307"/>
            <a:ext cx="1165442" cy="1211604"/>
            <a:chOff x="1422137" y="1996264"/>
            <a:chExt cx="1197131" cy="933450"/>
          </a:xfrm>
        </p:grpSpPr>
        <p:grpSp>
          <p:nvGrpSpPr>
            <p:cNvPr id="14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1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16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32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33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34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grpSp>
        <p:nvGrpSpPr>
          <p:cNvPr id="19" name="Group 18"/>
          <p:cNvGrpSpPr/>
          <p:nvPr/>
        </p:nvGrpSpPr>
        <p:grpSpPr>
          <a:xfrm rot="10800000">
            <a:off x="7288950" y="2157617"/>
            <a:ext cx="1165442" cy="1211604"/>
            <a:chOff x="1422137" y="1996264"/>
            <a:chExt cx="1197131" cy="933450"/>
          </a:xfrm>
        </p:grpSpPr>
        <p:grpSp>
          <p:nvGrpSpPr>
            <p:cNvPr id="20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24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25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21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2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23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sp>
        <p:nvSpPr>
          <p:cNvPr id="2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578764"/>
            <a:ext cx="9631363" cy="7804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35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ctr"/>
            <a:r>
              <a:rPr lang="en-US" dirty="0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27" name="Freeform 26"/>
          <p:cNvSpPr/>
          <p:nvPr userDrawn="1"/>
        </p:nvSpPr>
        <p:spPr>
          <a:xfrm>
            <a:off x="0" y="-1"/>
            <a:ext cx="9631363" cy="7223125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1" tIns="27001" rIns="27001" bIns="27001" numCol="1" spcCol="0" rtlCol="0" fromWordArt="0" anchor="ctr" anchorCtr="0" forceAA="0" compatLnSpc="1">
            <a:no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07801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01315" y="3110096"/>
            <a:ext cx="3599174" cy="621106"/>
          </a:xfrm>
          <a:prstGeom prst="rect">
            <a:avLst/>
          </a:prstGeom>
        </p:spPr>
        <p:txBody>
          <a:bodyPr lIns="0" tIns="45720" rIns="0" bIns="45720" anchor="ctr" anchorCtr="0">
            <a:noAutofit/>
          </a:bodyPr>
          <a:lstStyle>
            <a:lvl1pPr algn="ctr">
              <a:defRPr sz="4500" b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6936" y="6221651"/>
            <a:ext cx="1417492" cy="339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9604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/>
  <p:extLst>
    <p:ext uri="{DCECCB84-F9BA-43D5-87BE-67443E8EF086}">
      <p15:sldGuideLst xmlns:p15="http://schemas.microsoft.com/office/powerpoint/2012/main">
        <p15:guide id="1" orient="horz" pos="47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70337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2E46C0-B214-48D0-AD3A-E06942AE80EE}" type="datetimeFigureOut">
              <a:rPr lang="en-US" smtClean="0"/>
              <a:t>4/15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751FFA-257E-4D4F-B519-344AF5A800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216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2352" y="1182118"/>
            <a:ext cx="8186659" cy="2514718"/>
          </a:xfrm>
        </p:spPr>
        <p:txBody>
          <a:bodyPr anchor="b"/>
          <a:lstStyle>
            <a:lvl1pPr algn="ctr">
              <a:defRPr sz="631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03921" y="3793813"/>
            <a:ext cx="7223522" cy="1743916"/>
          </a:xfrm>
        </p:spPr>
        <p:txBody>
          <a:bodyPr/>
          <a:lstStyle>
            <a:lvl1pPr marL="0" indent="0" algn="ctr">
              <a:buNone/>
              <a:defRPr sz="2528"/>
            </a:lvl1pPr>
            <a:lvl2pPr marL="481523" indent="0" algn="ctr">
              <a:buNone/>
              <a:defRPr sz="2106"/>
            </a:lvl2pPr>
            <a:lvl3pPr marL="963046" indent="0" algn="ctr">
              <a:buNone/>
              <a:defRPr sz="1896"/>
            </a:lvl3pPr>
            <a:lvl4pPr marL="1444569" indent="0" algn="ctr">
              <a:buNone/>
              <a:defRPr sz="1685"/>
            </a:lvl4pPr>
            <a:lvl5pPr marL="1926092" indent="0" algn="ctr">
              <a:buNone/>
              <a:defRPr sz="1685"/>
            </a:lvl5pPr>
            <a:lvl6pPr marL="2407615" indent="0" algn="ctr">
              <a:buNone/>
              <a:defRPr sz="1685"/>
            </a:lvl6pPr>
            <a:lvl7pPr marL="2889138" indent="0" algn="ctr">
              <a:buNone/>
              <a:defRPr sz="1685"/>
            </a:lvl7pPr>
            <a:lvl8pPr marL="3370661" indent="0" algn="ctr">
              <a:buNone/>
              <a:defRPr sz="1685"/>
            </a:lvl8pPr>
            <a:lvl9pPr marL="3852184" indent="0" algn="ctr">
              <a:buNone/>
              <a:defRPr sz="1685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54B1B0-F328-4718-B5A2-F461E1F4E420}" type="datetimeFigureOut">
              <a:rPr lang="en-US" smtClean="0"/>
              <a:t>4/15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79494A-50D6-474B-82EF-BBB1132C88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910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414437" y="620397"/>
            <a:ext cx="8216926" cy="6602729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859069" y="924570"/>
            <a:ext cx="6510576" cy="1646102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 algn="l">
              <a:defRPr sz="4050" b="1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59069" y="6093208"/>
            <a:ext cx="5094108" cy="70440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2100" b="0">
                <a:solidFill>
                  <a:schemeClr val="accent3"/>
                </a:solidFill>
                <a:latin typeface="+mn-lt"/>
              </a:defRPr>
            </a:lvl1pPr>
            <a:lvl2pPr marL="36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04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40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08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76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5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8070346" y="6479876"/>
            <a:ext cx="1147360" cy="317739"/>
          </a:xfrm>
        </p:spPr>
        <p:txBody>
          <a:bodyPr lIns="0" tIns="0" rIns="0" bIns="0" anchor="b">
            <a:noAutofit/>
          </a:bodyPr>
          <a:lstStyle>
            <a:lvl1pPr marL="0" indent="0" algn="r">
              <a:buNone/>
              <a:defRPr sz="1050">
                <a:solidFill>
                  <a:schemeClr val="accent3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7" name="Text Placeholder 35"/>
          <p:cNvSpPr>
            <a:spLocks noGrp="1"/>
          </p:cNvSpPr>
          <p:nvPr>
            <p:ph type="body" sz="quarter" idx="12" hasCustomPrompt="1"/>
          </p:nvPr>
        </p:nvSpPr>
        <p:spPr>
          <a:xfrm>
            <a:off x="191455" y="6479876"/>
            <a:ext cx="1147360" cy="317739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1050">
                <a:solidFill>
                  <a:schemeClr val="tx2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Add presenter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14437" cy="620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987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CCC2EEF-1F5A-44BA-A894-1FBB47676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4621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CCC2EEF-1F5A-44BA-A894-1FBB47676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F1EC3AF-05CF-414D-A56A-748443204B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3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31659556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Data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0F0CD4-F134-4393-85EE-F212B5E6FE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9422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0F0CD4-F134-4393-85EE-F212B5E6FE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86CE6F-0238-4FA6-A98D-2A2671D6A0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94" y="6702265"/>
            <a:ext cx="999023" cy="2286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81594" y="1229710"/>
            <a:ext cx="9068175" cy="3479450"/>
          </a:xfrm>
          <a:prstGeom prst="rect">
            <a:avLst/>
          </a:prstGeom>
          <a:solidFill>
            <a:srgbClr val="F8F8F8"/>
          </a:solidFill>
          <a:ln w="571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294641" y="6585155"/>
            <a:ext cx="905512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81595" y="455926"/>
            <a:ext cx="906817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91518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a slidebar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EA66DD-47B6-41AF-856C-60DA6DFCF9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087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EA66DD-47B6-41AF-856C-60DA6DFCF9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D3A3A6-74B7-4401-98A3-0D4D473F5A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1672897" y="6585155"/>
            <a:ext cx="7676871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2898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1672897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672897" y="463763"/>
            <a:ext cx="7676871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7479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5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C5B168-3E9E-4320-B0DB-444B32EA8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01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C5B168-3E9E-4320-B0DB-444B32EA8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76AC7A1-98DA-4510-AA81-E278E57ABE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" y="1"/>
            <a:ext cx="3592110" cy="7223125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3886750" y="6585155"/>
            <a:ext cx="546301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5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86750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86750" y="455927"/>
            <a:ext cx="5463018" cy="7837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34889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" y="1"/>
            <a:ext cx="3592110" cy="7223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3886750" y="6585155"/>
            <a:ext cx="546301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5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86750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86750" y="455927"/>
            <a:ext cx="5463018" cy="7837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1761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281595" y="455926"/>
            <a:ext cx="4643900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5184862" y="1"/>
            <a:ext cx="4446501" cy="7223125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4525154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294640" y="6585155"/>
            <a:ext cx="459968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4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79053" y="567059"/>
            <a:ext cx="4630854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21779669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5184862" y="1"/>
            <a:ext cx="4446501" cy="7223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6" name="SlideNumber"/>
          <p:cNvSpPr/>
          <p:nvPr/>
        </p:nvSpPr>
        <p:spPr>
          <a:xfrm>
            <a:off x="4525154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294640" y="6585155"/>
            <a:ext cx="459968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4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5" y="567059"/>
            <a:ext cx="4630854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94640" y="455926"/>
            <a:ext cx="463085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81595" y="455926"/>
            <a:ext cx="4643900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33475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0003678-DADB-422E-92E2-650549F8D1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02328194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" name="think-cell Slide" r:id="rId22" imgW="473" imgH="473" progId="TCLayout.ActiveDocument.1">
                  <p:embed/>
                </p:oleObj>
              </mc:Choice>
              <mc:Fallback>
                <p:oleObj name="think-cell Slide" r:id="rId22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0003678-DADB-422E-92E2-650549F8D1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94" y="6702265"/>
            <a:ext cx="999023" cy="228600"/>
          </a:xfrm>
          <a:prstGeom prst="rect">
            <a:avLst/>
          </a:prstGeom>
        </p:spPr>
      </p:pic>
      <p:sp>
        <p:nvSpPr>
          <p:cNvPr id="22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281595" y="1278372"/>
            <a:ext cx="8929043" cy="463440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281595" y="455926"/>
            <a:ext cx="906817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>
            <a:off x="294641" y="6585155"/>
            <a:ext cx="905512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9"/>
    </p:custDataLst>
    <p:extLst>
      <p:ext uri="{BB962C8B-B14F-4D97-AF65-F5344CB8AC3E}">
        <p14:creationId xmlns:p14="http://schemas.microsoft.com/office/powerpoint/2010/main" val="601067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9" r:id="rId2"/>
    <p:sldLayoutId id="2147483662" r:id="rId3"/>
    <p:sldLayoutId id="2147483682" r:id="rId4"/>
    <p:sldLayoutId id="2147483690" r:id="rId5"/>
    <p:sldLayoutId id="2147483678" r:id="rId6"/>
    <p:sldLayoutId id="2147483679" r:id="rId7"/>
    <p:sldLayoutId id="2147483681" r:id="rId8"/>
    <p:sldLayoutId id="2147483680" r:id="rId9"/>
    <p:sldLayoutId id="2147483663" r:id="rId10"/>
    <p:sldLayoutId id="2147483664" r:id="rId11"/>
    <p:sldLayoutId id="2147483677" r:id="rId12"/>
    <p:sldLayoutId id="2147483691" r:id="rId13"/>
    <p:sldLayoutId id="2147483686" r:id="rId14"/>
    <p:sldLayoutId id="2147483692" r:id="rId15"/>
    <p:sldLayoutId id="2147483693" r:id="rId16"/>
  </p:sldLayoutIdLst>
  <p:txStyles>
    <p:titleStyle>
      <a:lvl1pPr algn="l" defTabSz="736001" rtl="0" eaLnBrk="1" latinLnBrk="0" hangingPunct="1">
        <a:spcBef>
          <a:spcPct val="0"/>
        </a:spcBef>
        <a:buNone/>
        <a:defRPr sz="2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3597" marR="0" indent="-203597" algn="l" defTabSz="735806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35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431006" marR="0" indent="-89297" algn="l" defTabSz="735806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2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789385" marR="0" indent="-215504" algn="l" defTabSz="735806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2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090422" marR="0" indent="-157734" algn="l" defTabSz="736001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656002" indent="-184001" algn="l" defTabSz="736001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024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392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760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128003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600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68000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2pPr>
      <a:lvl3pPr marL="736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3pPr>
      <a:lvl4pPr marL="1104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4pPr>
      <a:lvl5pPr marL="1472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5pPr>
      <a:lvl6pPr marL="1840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6pPr>
      <a:lvl7pPr marL="2208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7pPr>
      <a:lvl8pPr marL="2576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8pPr>
      <a:lvl9pPr marL="2944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7" Type="http://schemas.openxmlformats.org/officeDocument/2006/relationships/image" Target="../media/image19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20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tatsmedic.com/youtube" TargetMode="External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8.jp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7.jp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collegeboard.org/ap-covid19-updates" TargetMode="External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10" Type="http://schemas.openxmlformats.org/officeDocument/2006/relationships/hyperlink" Target="https://apcoronavirusupdates.collegeboard.org/educators/course-schedule" TargetMode="External"/><Relationship Id="rId4" Type="http://schemas.openxmlformats.org/officeDocument/2006/relationships/slideLayout" Target="../slideLayouts/slideLayout10.xml"/><Relationship Id="rId9" Type="http://schemas.openxmlformats.org/officeDocument/2006/relationships/hyperlink" Target="https://apstudents.collegeboard.org/coronavirus-updates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11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12AB356-E41C-4551-A84F-B7149EE8C5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5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12AB356-E41C-4551-A84F-B7149EE8C5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5429A44-6B75-4960-BDC9-8697E7D0C8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902890"/>
            <a:ext cx="9630833" cy="541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2505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1999 AP Statistics Free Response #3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5" y="1105806"/>
            <a:ext cx="8915768" cy="518208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 algn="ctr">
              <a:buNone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86BC3061-D610-E449-8295-777585F248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4625" y="1981961"/>
            <a:ext cx="8743654" cy="35217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25132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2 AP Statistics Free Response #2</a:t>
            </a:r>
            <a:br>
              <a:rPr lang="en-US" dirty="0"/>
            </a:b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221604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21B474AD-C412-DD43-9EB9-86CAC06F8A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2844" y="2570369"/>
            <a:ext cx="8811491" cy="20823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67398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4 Form B AP Statistics Free Response #2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193028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5" name="Picture 4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97CDEB65-97AE-064E-B3D4-DD9ED9B062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9825" y="1813831"/>
            <a:ext cx="8372579" cy="38543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244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1 AP Statistics Free Response #3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193028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6" name="Picture 5" descr="A screenshot of a cell phone&#10;&#10;Description automatically generated">
            <a:extLst>
              <a:ext uri="{FF2B5EF4-FFF2-40B4-BE49-F238E27FC236}">
                <a16:creationId xmlns:a16="http://schemas.microsoft.com/office/drawing/2014/main" id="{A1548CEF-7D35-3D45-BEA2-342E2891BE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95513" y="1243140"/>
            <a:ext cx="7440335" cy="4986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616578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6 AP Statistics Free Response #3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193028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954DE7EE-52B9-6848-AFBE-124CBC943F8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622" y="1624698"/>
            <a:ext cx="8364117" cy="42325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1392879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8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BFB8B97-E58A-403E-B8DD-C5B2B8F8957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61131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4150623"/>
              </p:ext>
            </p:ext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DEBRIEF AND SUMMAR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580995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Hopefully by now you are feeling more comfortable with us</a:t>
            </a:r>
            <a:r>
              <a:rPr lang="en-US" sz="2400" dirty="0" err="1">
                <a:solidFill>
                  <a:srgbClr val="1E1E1E"/>
                </a:solidFill>
                <a:latin typeface="Roboto"/>
              </a:rPr>
              <a:t>ing</a:t>
            </a:r>
            <a:r>
              <a:rPr lang="en-US" sz="2400" dirty="0">
                <a:solidFill>
                  <a:srgbClr val="1E1E1E"/>
                </a:solidFill>
                <a:latin typeface="Roboto"/>
              </a:rPr>
              <a:t> the different Random Sampling techniques and designing an Experiment to show causation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Similar to </a:t>
            </a:r>
            <a:r>
              <a:rPr lang="en-US" sz="2400" dirty="0">
                <a:solidFill>
                  <a:srgbClr val="1E1E1E"/>
                </a:solidFill>
                <a:latin typeface="Roboto"/>
              </a:rPr>
              <a:t>all problems in AP Statistic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you should be able to write a clear/concise solution in context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012511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80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6"/>
            <a:ext cx="8905698" cy="1044843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2012 Multiple Choice #10 Homework Problem </a:t>
            </a:r>
            <a:br>
              <a:rPr lang="en-US" b="1" dirty="0">
                <a:solidFill>
                  <a:schemeClr val="tx1"/>
                </a:solidFill>
              </a:rPr>
            </a:br>
            <a:r>
              <a:rPr lang="en-US" b="1" dirty="0">
                <a:solidFill>
                  <a:schemeClr val="tx1"/>
                </a:solidFill>
              </a:rPr>
              <a:t>Thursday 04/16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655800"/>
            <a:ext cx="8905698" cy="470195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6E84C8B1-2B67-674E-B8F9-77980028F29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730332" y="1939432"/>
            <a:ext cx="8170698" cy="41346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11538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56" y="90412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5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56" y="90412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66" y="902928"/>
            <a:ext cx="119060" cy="11906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16">
              <a:defRPr/>
            </a:pPr>
            <a:endParaRPr lang="en-US" sz="2699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03" y="578601"/>
            <a:ext cx="8905208" cy="309532"/>
          </a:xfrm>
        </p:spPr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Device and Internet Acces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F3C33B-5E37-4E4F-A1C6-6A759CDC5D2E}"/>
              </a:ext>
            </a:extLst>
          </p:cNvPr>
          <p:cNvSpPr txBox="1"/>
          <p:nvPr/>
        </p:nvSpPr>
        <p:spPr>
          <a:xfrm>
            <a:off x="361803" y="3738107"/>
            <a:ext cx="8905208" cy="2799564"/>
          </a:xfrm>
          <a:prstGeom prst="rect">
            <a:avLst/>
          </a:prstGeom>
          <a:noFill/>
        </p:spPr>
        <p:txBody>
          <a:bodyPr wrap="square" lIns="37917" tIns="37917" rIns="37917" bIns="37917" rtlCol="0">
            <a:spAutoFit/>
          </a:bodyPr>
          <a:lstStyle/>
          <a:p>
            <a:pPr algn="ctr"/>
            <a:r>
              <a:rPr lang="en-US" sz="2528" dirty="0"/>
              <a:t>We know that not all students have access to the internet or a device. We’re working on solutions to help students get what they need to show their best work. If you need mobile tools or connectivity or know someone who does, </a:t>
            </a:r>
            <a:r>
              <a:rPr lang="en-US" sz="2528" b="1" dirty="0"/>
              <a:t>you can reach us directly to let us know</a:t>
            </a:r>
            <a:r>
              <a:rPr lang="en-US" sz="2528" dirty="0"/>
              <a:t>.</a:t>
            </a:r>
          </a:p>
          <a:p>
            <a:pPr algn="ctr"/>
            <a:endParaRPr lang="en-US" sz="2106" b="1" dirty="0"/>
          </a:p>
          <a:p>
            <a:pPr algn="ctr"/>
            <a:r>
              <a:rPr lang="en-US" sz="2949" b="1" dirty="0" err="1"/>
              <a:t>cb.org</a:t>
            </a:r>
            <a:r>
              <a:rPr lang="en-US" sz="2949" b="1" dirty="0"/>
              <a:t>/tech</a:t>
            </a:r>
            <a:endParaRPr lang="en-US" sz="2949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B2B1456-05D8-5743-B9A9-6FD0CFD856A7}"/>
              </a:ext>
            </a:extLst>
          </p:cNvPr>
          <p:cNvGrpSpPr/>
          <p:nvPr/>
        </p:nvGrpSpPr>
        <p:grpSpPr>
          <a:xfrm>
            <a:off x="3825279" y="1324133"/>
            <a:ext cx="1979528" cy="1977973"/>
            <a:chOff x="5691514" y="4575025"/>
            <a:chExt cx="736209" cy="7356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55568AC-2F09-8B45-BD81-56144E4FA90E}"/>
                </a:ext>
              </a:extLst>
            </p:cNvPr>
            <p:cNvSpPr/>
            <p:nvPr/>
          </p:nvSpPr>
          <p:spPr>
            <a:xfrm>
              <a:off x="5693622" y="4575025"/>
              <a:ext cx="731520" cy="731520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917" tIns="37917" rIns="37917" bIns="37917" rtlCol="0" anchor="ctr">
              <a:normAutofit/>
            </a:bodyPr>
            <a:lstStyle/>
            <a:p>
              <a:pPr algn="ctr"/>
              <a:endParaRPr lang="en-US" sz="2106" b="1" dirty="0">
                <a:solidFill>
                  <a:schemeClr val="tx2"/>
                </a:solidFill>
                <a:latin typeface="+mj-lt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9A2127A-0ACF-DC47-85CF-C6050F4D906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91514" y="4579136"/>
              <a:ext cx="736209" cy="7315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183035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1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D65B2D3F-CE44-4EE4-97E4-1C0F5180AB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-1"/>
            <a:ext cx="9630833" cy="722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1893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923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INTRODUCTION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71549"/>
            <a:ext cx="9087089" cy="537906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dirty="0">
              <a:solidFill>
                <a:srgbClr val="1E1E1E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dirty="0">
              <a:solidFill>
                <a:srgbClr val="1E1E1E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Presenter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rendan Murph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John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aps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Memorial High Sch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angor, 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Luke Wilco</a:t>
            </a:r>
            <a:r>
              <a:rPr lang="en-US" sz="2000" dirty="0">
                <a:solidFill>
                  <a:srgbClr val="1E1E1E"/>
                </a:solidFill>
                <a:latin typeface="Roboto"/>
              </a:rPr>
              <a:t>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East Kentwood High Sch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Kentwood, MI</a:t>
            </a:r>
          </a:p>
          <a:p>
            <a:pPr lvl="0">
              <a:defRPr/>
            </a:pPr>
            <a:r>
              <a:rPr lang="en-US" sz="1400" dirty="0">
                <a:hlinkClick r:id="rId8"/>
              </a:rPr>
              <a:t>www.statsmedic.com/youtub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4" name="Picture 3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BEDB5591-C30A-3E43-8E5D-395326DD8EE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31756" y="2677736"/>
            <a:ext cx="1236858" cy="1848613"/>
          </a:xfrm>
          <a:prstGeom prst="rect">
            <a:avLst/>
          </a:prstGeom>
        </p:spPr>
      </p:pic>
      <p:pic>
        <p:nvPicPr>
          <p:cNvPr id="6" name="Picture 5" descr="A person wearing a suit and tie smiling at the camera&#10;&#10;Description automatically generated">
            <a:extLst>
              <a:ext uri="{FF2B5EF4-FFF2-40B4-BE49-F238E27FC236}">
                <a16:creationId xmlns:a16="http://schemas.microsoft.com/office/drawing/2014/main" id="{5672A44F-C63E-5548-9356-3697B8127FB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31756" y="4880164"/>
            <a:ext cx="1236859" cy="1732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3803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02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HOMEWORK REVIEW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8" y="1049629"/>
            <a:ext cx="9087089" cy="587150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4EC53BF9-39D9-F142-8279-9A7ACF6BB93A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014718" y="1216782"/>
            <a:ext cx="5575300" cy="553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7794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59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UPDATES FOR STUDENTS/TEACHE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8" y="1049629"/>
            <a:ext cx="9087089" cy="540984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lvl="0" algn="ctr">
              <a:defRPr/>
            </a:pPr>
            <a:r>
              <a:rPr lang="en-US" sz="2000" dirty="0">
                <a:hlinkClick r:id="rId8" tooltip="Original URL:&#10;http://collegeboard.org/ap-covid19-updates&#10;&#10;Click to follow link."/>
              </a:rPr>
              <a:t>http://collegeboard.org/ap-covid19-updates</a:t>
            </a: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endParaRPr lang="en-US" sz="2000" dirty="0"/>
          </a:p>
          <a:p>
            <a:pPr algn="ctr"/>
            <a:r>
              <a:rPr lang="en-US" sz="2000" dirty="0">
                <a:hlinkClick r:id="rId9"/>
              </a:rPr>
              <a:t>https://apstudents.collegeboard.org/coronavirus-updates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lvl="0" algn="ctr">
              <a:defRPr/>
            </a:pPr>
            <a:r>
              <a:rPr lang="en-US" sz="2000" dirty="0">
                <a:solidFill>
                  <a:srgbClr val="1E1E1E"/>
                </a:solidFill>
                <a:hlinkClick r:id="rId10"/>
              </a:rPr>
              <a:t>https://apcoronavirusupdates.collegeboard.org/educators/course-schedule</a:t>
            </a:r>
            <a:endParaRPr lang="en-US" sz="2000" dirty="0">
              <a:solidFill>
                <a:srgbClr val="1E1E1E"/>
              </a:solidFill>
            </a:endParaRPr>
          </a:p>
          <a:p>
            <a:pPr lvl="0">
              <a:defRPr/>
            </a:pPr>
            <a:endParaRPr lang="en-US" sz="2000" dirty="0">
              <a:solidFill>
                <a:srgbClr val="1E1E1E"/>
              </a:solidFill>
            </a:endParaRPr>
          </a:p>
          <a:p>
            <a:pPr lvl="0" algn="ctr">
              <a:defRPr/>
            </a:pPr>
            <a:r>
              <a:rPr lang="en-US" sz="2000" dirty="0">
                <a:solidFill>
                  <a:srgbClr val="1E1E1E"/>
                </a:solidFill>
              </a:rPr>
              <a:t>Scroll down to Math And Science, click on AP Statistics, Expand </a:t>
            </a:r>
            <a:r>
              <a:rPr lang="en-US" sz="2000" dirty="0">
                <a:solidFill>
                  <a:srgbClr val="1E1E1E"/>
                </a:solidFill>
                <a:latin typeface="Roboto"/>
              </a:rPr>
              <a:t>Al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92476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1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9796145-68C9-4F8B-AFC1-B16652D2BA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488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34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207069"/>
            <a:ext cx="8905698" cy="565606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3AD58CBB-AE66-CA46-A93F-47B63028C5A4}"/>
              </a:ext>
            </a:extLst>
          </p:cNvPr>
          <p:cNvSpPr txBox="1"/>
          <p:nvPr/>
        </p:nvSpPr>
        <p:spPr>
          <a:xfrm>
            <a:off x="1092767" y="3298211"/>
            <a:ext cx="7920842" cy="626701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3600" dirty="0"/>
              <a:t>Correlation does not prove causation</a:t>
            </a:r>
          </a:p>
        </p:txBody>
      </p:sp>
    </p:spTree>
    <p:extLst>
      <p:ext uri="{BB962C8B-B14F-4D97-AF65-F5344CB8AC3E}">
        <p14:creationId xmlns:p14="http://schemas.microsoft.com/office/powerpoint/2010/main" val="764973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7823247"/>
              </p:ext>
            </p:ext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9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-TOPIC 3.3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565606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48D8E25-B0F0-AD46-B099-87926C6DBE91}"/>
              </a:ext>
            </a:extLst>
          </p:cNvPr>
          <p:cNvSpPr txBox="1"/>
          <p:nvPr/>
        </p:nvSpPr>
        <p:spPr>
          <a:xfrm>
            <a:off x="669755" y="1913217"/>
            <a:ext cx="8265226" cy="33966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n-US" sz="3600" dirty="0"/>
              <a:t>Random Sampling and Data Collection</a:t>
            </a:r>
          </a:p>
          <a:p>
            <a:endParaRPr lang="en-US" sz="3600" dirty="0"/>
          </a:p>
          <a:p>
            <a:pPr marL="457200" indent="-457200">
              <a:buFont typeface="+mj-lt"/>
              <a:buAutoNum type="arabicPeriod"/>
            </a:pPr>
            <a:r>
              <a:rPr lang="en-US" sz="3600" dirty="0"/>
              <a:t>Simple Random Sample (SRS)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3600" dirty="0"/>
              <a:t>Stratified Random Sample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3600" dirty="0"/>
              <a:t>Cluster Sampling</a:t>
            </a:r>
          </a:p>
          <a:p>
            <a:pPr marL="457200" indent="-457200">
              <a:buFont typeface="+mj-lt"/>
              <a:buAutoNum type="arabicPeriod"/>
            </a:pPr>
            <a:r>
              <a:rPr lang="en-US" sz="3600" dirty="0"/>
              <a:t>Systematic Random Sampling</a:t>
            </a:r>
          </a:p>
        </p:txBody>
      </p:sp>
    </p:spTree>
    <p:extLst>
      <p:ext uri="{BB962C8B-B14F-4D97-AF65-F5344CB8AC3E}">
        <p14:creationId xmlns:p14="http://schemas.microsoft.com/office/powerpoint/2010/main" val="313948721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5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-TOPIC 3.5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565606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63ED466B-D4DA-FF4D-B90A-FDC51F11E1B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470556" y="1599354"/>
            <a:ext cx="6690250" cy="4801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664048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3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C980774-E0F4-4386-8969-78B5F9CE12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19702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fm8L.R8RlOVq2qHZmp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8q40Fynz4pzQDKKama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R2J.75USiTxMSUmGmj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CnRorNzR66BpEjpWQK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NphEhICvUlXYxUiFXS9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B-K12">
  <a:themeElements>
    <a:clrScheme name="CB-K12">
      <a:dk1>
        <a:srgbClr val="1E1E1E"/>
      </a:dk1>
      <a:lt1>
        <a:srgbClr val="DCDCDC"/>
      </a:lt1>
      <a:dk2>
        <a:srgbClr val="FFFFFF"/>
      </a:dk2>
      <a:lt2>
        <a:srgbClr val="E57200"/>
      </a:lt2>
      <a:accent1>
        <a:srgbClr val="DCDCDC"/>
      </a:accent1>
      <a:accent2>
        <a:srgbClr val="FFFFFF"/>
      </a:accent2>
      <a:accent3>
        <a:srgbClr val="009CDE"/>
      </a:accent3>
      <a:accent4>
        <a:srgbClr val="71C5E8"/>
      </a:accent4>
      <a:accent5>
        <a:srgbClr val="505050"/>
      </a:accent5>
      <a:accent6>
        <a:srgbClr val="888888"/>
      </a:accent6>
      <a:hlink>
        <a:srgbClr val="1E1E1E"/>
      </a:hlink>
      <a:folHlink>
        <a:srgbClr val="009CDE"/>
      </a:folHlink>
    </a:clrScheme>
    <a:fontScheme name="CB-K12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19050">
          <a:noFill/>
        </a:ln>
      </a:spPr>
      <a:bodyPr lIns="36000" tIns="36000" rIns="36000" bIns="36000" rtlCol="0" anchor="ctr">
        <a:normAutofit/>
      </a:bodyPr>
      <a:lstStyle>
        <a:defPPr algn="ctr">
          <a:defRPr sz="2000" b="1" dirty="0" smtClean="0">
            <a:solidFill>
              <a:schemeClr val="tx2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rgbClr val="DDDDD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B-K12" id="{20BB08C5-25F0-46B1-9C83-860C83962183}" vid="{F6A58278-BC4E-404D-8FB5-CAEDB1199C1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D3FF447BA0B14F9CF529B5C5DF2DEA" ma:contentTypeVersion="13" ma:contentTypeDescription="Create a new document." ma:contentTypeScope="" ma:versionID="f53fde1e93389a6c4d588f42c665f492">
  <xsd:schema xmlns:xsd="http://www.w3.org/2001/XMLSchema" xmlns:xs="http://www.w3.org/2001/XMLSchema" xmlns:p="http://schemas.microsoft.com/office/2006/metadata/properties" xmlns:ns3="29290a24-c851-445c-ad00-0fdf6255719c" xmlns:ns4="e2766298-136c-439d-b755-a2db652f6339" targetNamespace="http://schemas.microsoft.com/office/2006/metadata/properties" ma:root="true" ma:fieldsID="b936630a4f4899d6b97a7e00781ba76e" ns3:_="" ns4:_="">
    <xsd:import namespace="29290a24-c851-445c-ad00-0fdf6255719c"/>
    <xsd:import namespace="e2766298-136c-439d-b755-a2db652f633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290a24-c851-445c-ad00-0fdf6255719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766298-136c-439d-b755-a2db652f63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0D94E9D-2ED9-4975-99B9-A78ABDE052B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1778068-D330-49E0-B08D-DCA7AD5877A8}">
  <ds:schemaRefs>
    <ds:schemaRef ds:uri="http://purl.org/dc/terms/"/>
    <ds:schemaRef ds:uri="http://schemas.microsoft.com/office/2006/metadata/properties"/>
    <ds:schemaRef ds:uri="e2766298-136c-439d-b755-a2db652f6339"/>
    <ds:schemaRef ds:uri="http://schemas.microsoft.com/office/2006/documentManagement/types"/>
    <ds:schemaRef ds:uri="http://schemas.microsoft.com/office/infopath/2007/PartnerControls"/>
    <ds:schemaRef ds:uri="29290a24-c851-445c-ad00-0fdf6255719c"/>
    <ds:schemaRef ds:uri="http://schemas.openxmlformats.org/package/2006/metadata/core-properties"/>
    <ds:schemaRef ds:uri="http://www.w3.org/XML/1998/namespace"/>
    <ds:schemaRef ds:uri="http://purl.org/dc/dcmitype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EF8710E0-2425-4A75-9D93-FD2D0C3DA9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290a24-c851-445c-ad00-0fdf6255719c"/>
    <ds:schemaRef ds:uri="e2766298-136c-439d-b755-a2db652f633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B-K12</Template>
  <TotalTime>4816</TotalTime>
  <Words>293</Words>
  <Application>Microsoft Macintosh PowerPoint</Application>
  <PresentationFormat>Custom</PresentationFormat>
  <Paragraphs>247</Paragraphs>
  <Slides>19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9</vt:i4>
      </vt:variant>
    </vt:vector>
  </HeadingPairs>
  <TitlesOfParts>
    <vt:vector size="27" baseType="lpstr">
      <vt:lpstr>Arial</vt:lpstr>
      <vt:lpstr>Calibri</vt:lpstr>
      <vt:lpstr>Marlett</vt:lpstr>
      <vt:lpstr>Roboto</vt:lpstr>
      <vt:lpstr>Roboto Slab</vt:lpstr>
      <vt:lpstr>Verdana</vt:lpstr>
      <vt:lpstr>CB-K12</vt:lpstr>
      <vt:lpstr>think-cell Slide</vt:lpstr>
      <vt:lpstr>PowerPoint Presentation</vt:lpstr>
      <vt:lpstr>INTRODUCTIONS</vt:lpstr>
      <vt:lpstr>HOMEWORK REVIEW</vt:lpstr>
      <vt:lpstr>UPDATES FOR STUDENTS/TEACHERS</vt:lpstr>
      <vt:lpstr>PowerPoint Presentation</vt:lpstr>
      <vt:lpstr>WHAT YOU NEED TO KNOW</vt:lpstr>
      <vt:lpstr>WHAT YOU NEED TO KNOW-TOPIC 3.3</vt:lpstr>
      <vt:lpstr>WHAT YOU NEED TO KNOW-TOPIC 3.5</vt:lpstr>
      <vt:lpstr>PowerPoint Presentation</vt:lpstr>
      <vt:lpstr>1999 AP Statistics Free Response #3</vt:lpstr>
      <vt:lpstr>2002 AP Statistics Free Response #2 </vt:lpstr>
      <vt:lpstr>2004 Form B AP Statistics Free Response #2</vt:lpstr>
      <vt:lpstr>2011 AP Statistics Free Response #3</vt:lpstr>
      <vt:lpstr>2016 AP Statistics Free Response #3</vt:lpstr>
      <vt:lpstr>PowerPoint Presentation</vt:lpstr>
      <vt:lpstr>DEBRIEF AND SUMMARY</vt:lpstr>
      <vt:lpstr>2012 Multiple Choice #10 Homework Problem  Thursday 04/16</vt:lpstr>
      <vt:lpstr>Device and Internet Access</vt:lpstr>
      <vt:lpstr>PowerPoint Presentation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B-K12</dc:title>
  <dc:creator>College Board</dc:creator>
  <cp:lastModifiedBy>Brendan Murphy</cp:lastModifiedBy>
  <cp:revision>102</cp:revision>
  <dcterms:created xsi:type="dcterms:W3CDTF">2019-04-30T21:25:41Z</dcterms:created>
  <dcterms:modified xsi:type="dcterms:W3CDTF">2020-04-15T16:50:10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D3FF447BA0B14F9CF529B5C5DF2DEA</vt:lpwstr>
  </property>
</Properties>
</file>